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5D0F8D-5798-DA56-B0ED-0D6E00F4CB73}" name="Dion3, Alain (SPAC/PSPC)" initials="DA(" userId="S::alain.dion3@tpsgc-pwgsc.gc.ca::b5972ad0-fee1-4393-9fd4-8bc589782a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96323" autoAdjust="0"/>
  </p:normalViewPr>
  <p:slideViewPr>
    <p:cSldViewPr snapToGrid="0" snapToObjects="1">
      <p:cViewPr varScale="1">
        <p:scale>
          <a:sx n="109" d="100"/>
          <a:sy n="109" d="100"/>
        </p:scale>
        <p:origin x="63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9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9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g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879D9-EFDA-4657-A866-22AE5C92D3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5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803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7478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7477" y="6130345"/>
            <a:ext cx="12209478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6B3BF10-87B5-0828-F602-DEC0E7F12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Guide de l’activité de sélection de la planche de tendances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E9626369-0ACF-DB3E-1580-6E2D687901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fr-CA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irectives pour les gestionnaires du changemen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078724F-0392-8372-6831-92537CA130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307" y="4188370"/>
            <a:ext cx="3494087" cy="526957"/>
          </a:xfrm>
        </p:spPr>
        <p:txBody>
          <a:bodyPr/>
          <a:lstStyle/>
          <a:p>
            <a:r>
              <a:rPr lang="fr-CA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Septembre 2023</a:t>
            </a:r>
            <a:endParaRPr lang="en-CA" sz="14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61</TotalTime>
  <Words>21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Guide de l’activité de sélection de la planche de tenda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31</cp:revision>
  <dcterms:created xsi:type="dcterms:W3CDTF">2018-01-23T15:59:12Z</dcterms:created>
  <dcterms:modified xsi:type="dcterms:W3CDTF">2023-09-12T13:0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09-12T13:08:17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668f731c-cce0-4540-b9a1-4f3ab7051284</vt:lpwstr>
  </property>
  <property fmtid="{D5CDD505-2E9C-101B-9397-08002B2CF9AE}" pid="8" name="MSIP_Label_834ed4f5-eae4-40c7-82be-b1cdf720a1b9_ContentBits">
    <vt:lpwstr>0</vt:lpwstr>
  </property>
</Properties>
</file>